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4"/>
  </p:sldMasterIdLst>
  <p:notesMasterIdLst>
    <p:notesMasterId r:id="rId6"/>
  </p:notesMasterIdLst>
  <p:handoutMasterIdLst>
    <p:handoutMasterId r:id="rId7"/>
  </p:handoutMasterIdLst>
  <p:sldIdLst>
    <p:sldId id="370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3" d="100"/>
          <a:sy n="83" d="100"/>
        </p:scale>
        <p:origin x="1406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1/07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1/07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1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289362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solidFill>
                  <a:srgbClr val="7F7F7F"/>
                </a:solidFill>
              </a:rPr>
              <a:t>SF040 – RFI Valve Nozzle to Reduce Splashing</a:t>
            </a:r>
            <a:r>
              <a:rPr lang="en-GB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1 July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72b248c4b33615210bc3419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A08028B-4A0F-42F5-AE75-6C0E8356FB1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Y VENTAJA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CIÓN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s-ES"/>
              <a:t>Aumente el desempeño y la higiene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27931"/>
            <a:ext cx="7997825" cy="307975"/>
          </a:xfrm>
        </p:spPr>
        <p:txBody>
          <a:bodyPr/>
          <a:lstStyle/>
          <a:p>
            <a:r>
              <a:rPr lang="es-ES"/>
              <a:t>Nueva boquilla de válvula RFI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es-ES" sz="800">
                <a:solidFill>
                  <a:srgbClr val="000000"/>
                </a:solidFill>
              </a:rPr>
              <a:t>Valor: Eficiencia, calidad del producto</a:t>
            </a:r>
          </a:p>
          <a:p>
            <a:pPr lvl="0" fontAlgn="base">
              <a:spcAft>
                <a:spcPct val="0"/>
              </a:spcAft>
              <a:defRPr/>
            </a:pPr>
            <a:r>
              <a:rPr lang="es-ES" sz="800">
                <a:solidFill>
                  <a:srgbClr val="000000"/>
                </a:solidFill>
              </a:rPr>
              <a:t>Equipo: Llenadora Eurotronica FM-S RFI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es-ES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e catálogo:</a:t>
            </a:r>
            <a:r>
              <a:rPr lang="es-ES" sz="800">
                <a:solidFill>
                  <a:srgbClr val="000000"/>
                </a:solidFill>
              </a:rPr>
              <a:t> SF040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150860"/>
            <a:ext cx="3890963" cy="1923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/>
              <a:t>Mayor rapidez de apertura y cierre de la válvula.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/>
              <a:t>Menor tensión en las piezas de desgaste.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/>
              <a:t>Eliminación de los vertidos y las salpicaduras durante el llenado.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/>
              <a:t>Llenadora limpia y seca durante el llenado.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/>
              <a:t>Flujo laminar para limitar la formación de espuma.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/>
              <a:t>Ningún desperdicio de producto.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/>
              <a:t>Poco desperdicio de botellas a la salida de la máquina.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/>
              <a:t>Mejora de la repetibilidad de la válvula:</a:t>
            </a:r>
          </a:p>
          <a:p>
            <a:pPr marL="432000" lvl="0" indent="-216000" eaLnBrk="0" hangingPunct="0">
              <a:spcBef>
                <a:spcPts val="300"/>
              </a:spcBef>
              <a:buClr>
                <a:srgbClr val="E64B00"/>
              </a:buClr>
              <a:buFont typeface="Wingdings" panose="05000000000000000000" pitchFamily="2" charset="2"/>
              <a:buChar char="Ø"/>
              <a:defRPr/>
            </a:pPr>
            <a:r>
              <a:rPr lang="es-ES" sz="1100" dirty="0"/>
              <a:t>Sigma 2 con un tamaño de botella de 500 ml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150859"/>
            <a:ext cx="3823487" cy="22760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>
                <a:solidFill>
                  <a:srgbClr val="000000"/>
                </a:solidFill>
              </a:rPr>
              <a:t>El nuevo diseño del émbolo, considerablemente aligerado, mejora el desempeño de la válvula en las fases de transición de la apertura y el cierre. La nueva geometría del émbolo evita que se deforme el cuerpo de la válvula.</a:t>
            </a:r>
          </a:p>
          <a:p>
            <a:pPr marL="182563" lvl="0" indent="-182563" algn="just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/>
              <a:t>El innovador extremo excéntrico posibilita un llenado con </a:t>
            </a:r>
            <a:r>
              <a:rPr lang="es-ES" sz="1100">
                <a:solidFill>
                  <a:srgbClr val="000000"/>
                </a:solidFill>
              </a:rPr>
              <a:t>flujo laminar, lo que genera menos burbujas durante el envasado del producto.</a:t>
            </a:r>
            <a:r>
              <a:rPr lang="es-ES" sz="1100"/>
              <a:t> </a:t>
            </a:r>
            <a:r>
              <a:rPr lang="es-ES" sz="1100">
                <a:solidFill>
                  <a:srgbClr val="000000"/>
                </a:solidFill>
              </a:rPr>
              <a:t>Además, permite que la dirección del chorro de producto sea precisa y limpia, y así se evitan fugas en las fases de llenado.</a:t>
            </a:r>
            <a:r>
              <a:rPr lang="es-ES" sz="1100"/>
              <a:t> </a:t>
            </a:r>
          </a:p>
          <a:p>
            <a:pPr marL="182563" lvl="0" indent="-182563" algn="just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>
                <a:solidFill>
                  <a:srgbClr val="000000"/>
                </a:solidFill>
              </a:rPr>
              <a:t>La inserción del extremo excéntrico elimina los fenómenos de vertidos y salpicaduras durante las fases de llenado, con lo que el flujo es sumamente laminar.</a:t>
            </a:r>
          </a:p>
        </p:txBody>
      </p:sp>
      <p:sp>
        <p:nvSpPr>
          <p:cNvPr id="16" name="Rettangolo 3"/>
          <p:cNvSpPr>
            <a:spLocks noChangeArrowheads="1"/>
          </p:cNvSpPr>
          <p:nvPr/>
        </p:nvSpPr>
        <p:spPr bwMode="auto">
          <a:xfrm>
            <a:off x="6453319" y="5017869"/>
            <a:ext cx="576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 anchor="ctr" anchorCtr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s-ES" sz="1000">
                <a:solidFill>
                  <a:srgbClr val="000000"/>
                </a:solidFill>
              </a:rPr>
              <a:t>Nuevo émbolo</a:t>
            </a:r>
          </a:p>
        </p:txBody>
      </p:sp>
      <p:pic>
        <p:nvPicPr>
          <p:cNvPr id="17" name="Immagine 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0134" y="5209608"/>
            <a:ext cx="482480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Immagine 3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6246" y="4660898"/>
            <a:ext cx="486328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Immagine 3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6267" y="5014841"/>
            <a:ext cx="347662" cy="726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ttangolo 3"/>
          <p:cNvSpPr>
            <a:spLocks noChangeArrowheads="1"/>
          </p:cNvSpPr>
          <p:nvPr/>
        </p:nvSpPr>
        <p:spPr bwMode="auto">
          <a:xfrm>
            <a:off x="5355259" y="4525959"/>
            <a:ext cx="715948" cy="38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 anchor="ctr" anchorCtr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s-ES" sz="1000" dirty="0">
                <a:solidFill>
                  <a:srgbClr val="000000"/>
                </a:solidFill>
              </a:rPr>
              <a:t>Extremo excéntrico</a:t>
            </a:r>
          </a:p>
        </p:txBody>
      </p:sp>
      <p:pic>
        <p:nvPicPr>
          <p:cNvPr id="26" name="Immagine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2045" y="4516286"/>
            <a:ext cx="715948" cy="12613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Immagine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2060" y="4356101"/>
            <a:ext cx="2065083" cy="10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Immagine 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4450" y="4703078"/>
            <a:ext cx="484563" cy="1080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Immagine 3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95" t="2353" r="26451" b="11012"/>
          <a:stretch>
            <a:fillRect/>
          </a:stretch>
        </p:blipFill>
        <p:spPr bwMode="auto">
          <a:xfrm>
            <a:off x="710999" y="4651004"/>
            <a:ext cx="515829" cy="11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xt Box 17"/>
          <p:cNvSpPr txBox="1">
            <a:spLocks noChangeArrowheads="1"/>
          </p:cNvSpPr>
          <p:nvPr/>
        </p:nvSpPr>
        <p:spPr bwMode="auto">
          <a:xfrm>
            <a:off x="686474" y="4251520"/>
            <a:ext cx="728459" cy="38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 anchor="ctr" anchorCtr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s-ES" sz="1000" b="1" dirty="0">
                <a:solidFill>
                  <a:schemeClr val="folHlink"/>
                </a:solidFill>
              </a:rPr>
              <a:t>Solución </a:t>
            </a:r>
          </a:p>
          <a:p>
            <a:pPr eaLnBrk="1" hangingPunct="1"/>
            <a:r>
              <a:rPr lang="es-ES" sz="1000" b="1" dirty="0">
                <a:solidFill>
                  <a:schemeClr val="folHlink"/>
                </a:solidFill>
              </a:rPr>
              <a:t>actual</a:t>
            </a:r>
          </a:p>
        </p:txBody>
      </p:sp>
      <p:pic>
        <p:nvPicPr>
          <p:cNvPr id="31" name="Immagine 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9232" y="4651004"/>
            <a:ext cx="517644" cy="11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ext Box 17"/>
          <p:cNvSpPr txBox="1">
            <a:spLocks noChangeArrowheads="1"/>
          </p:cNvSpPr>
          <p:nvPr/>
        </p:nvSpPr>
        <p:spPr bwMode="auto">
          <a:xfrm>
            <a:off x="1627658" y="4251520"/>
            <a:ext cx="728459" cy="38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 anchor="ctr" anchorCtr="0">
            <a:spAutoFit/>
          </a:bodyPr>
          <a:lstStyle>
            <a:defPPr>
              <a:defRPr lang="en-US"/>
            </a:defPPr>
            <a:lvl1pPr>
              <a:defRPr sz="1100" b="1">
                <a:solidFill>
                  <a:schemeClr val="fol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s-ES" sz="1000" dirty="0"/>
              <a:t>Nueva </a:t>
            </a:r>
          </a:p>
          <a:p>
            <a:r>
              <a:rPr lang="es-ES" sz="1000" dirty="0"/>
              <a:t>solución</a:t>
            </a:r>
          </a:p>
        </p:txBody>
      </p:sp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8" ma:contentTypeDescription="Crée un document." ma:contentTypeScope="" ma:versionID="1d9ac8744093a14f05b6e17801b63047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bd366cce47cadcd80af191a852887a08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BCA9ECA-AABF-4BD6-9B1C-772FE27CC14F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ED98168-BB74-4049-B65F-C9E4460E28F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7DD1294-64D4-45E0-98A3-17DE60F9D9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1191c-8472-4eb5-a739-69bdbf5e66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0</TotalTime>
  <Words>239</Words>
  <Application>Microsoft Office PowerPoint</Application>
  <PresentationFormat>Affichage à l'écran (4:3)</PresentationFormat>
  <Paragraphs>25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Wingdings</vt:lpstr>
      <vt:lpstr>1_NewSidel_Template_4x3_with add layouts</vt:lpstr>
      <vt:lpstr>think-cell Folie</vt:lpstr>
      <vt:lpstr>Aumente el desempeño y la higien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Lauranne  DELAMARE| Studia Ingénierie</cp:lastModifiedBy>
  <cp:revision>22</cp:revision>
  <dcterms:created xsi:type="dcterms:W3CDTF">2018-02-10T17:04:39Z</dcterms:created>
  <dcterms:modified xsi:type="dcterms:W3CDTF">2019-07-01T09:42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7-09-26T14:43:53.5499116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7-09-26T14:43:53.5499116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  <property fmtid="{D5CDD505-2E9C-101B-9397-08002B2CF9AE}" pid="22" name="ContentTypeId">
    <vt:lpwstr>0x01010048C1934A45FF5D4B8D5F4B18333E543F</vt:lpwstr>
  </property>
</Properties>
</file>